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19"/>
  </p:notesMasterIdLst>
  <p:sldIdLst>
    <p:sldId id="257" r:id="rId2"/>
    <p:sldId id="1012" r:id="rId3"/>
    <p:sldId id="1027" r:id="rId4"/>
    <p:sldId id="1051" r:id="rId5"/>
    <p:sldId id="1052" r:id="rId6"/>
    <p:sldId id="1053" r:id="rId7"/>
    <p:sldId id="1063" r:id="rId8"/>
    <p:sldId id="1054" r:id="rId9"/>
    <p:sldId id="1055" r:id="rId10"/>
    <p:sldId id="1057" r:id="rId11"/>
    <p:sldId id="1058" r:id="rId12"/>
    <p:sldId id="1059" r:id="rId13"/>
    <p:sldId id="1060" r:id="rId14"/>
    <p:sldId id="1061" r:id="rId15"/>
    <p:sldId id="1056" r:id="rId16"/>
    <p:sldId id="1064" r:id="rId17"/>
    <p:sldId id="821" r:id="rId18"/>
  </p:sldIdLst>
  <p:sldSz cx="12192000" cy="6858000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27"/>
    <p:restoredTop sz="94410"/>
  </p:normalViewPr>
  <p:slideViewPr>
    <p:cSldViewPr snapToObjects="1">
      <p:cViewPr varScale="1">
        <p:scale>
          <a:sx n="79" d="100"/>
          <a:sy n="79" d="100"/>
        </p:scale>
        <p:origin x="240" y="6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5/4/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04.05.21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04.05.21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2.png"/><Relationship Id="rId7" Type="http://schemas.openxmlformats.org/officeDocument/2006/relationships/image" Target="../media/image2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1.png"/><Relationship Id="rId9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tiff"/><Relationship Id="rId4" Type="http://schemas.openxmlformats.org/officeDocument/2006/relationships/hyperlink" Target="mailto:is3-teaching@wiso.uni-koeln.de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4 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5/4/21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.2: </a:t>
            </a:r>
            <a:r>
              <a:rPr lang="de-DE" dirty="0" err="1"/>
              <a:t>Expectation</a:t>
            </a:r>
            <a:r>
              <a:rPr lang="de-DE" dirty="0"/>
              <a:t> </a:t>
            </a:r>
            <a:r>
              <a:rPr lang="de-DE" dirty="0" err="1"/>
              <a:t>Maximization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07A4485-1219-F347-8D59-0401A6B75EEA}"/>
              </a:ext>
            </a:extLst>
          </p:cNvPr>
          <p:cNvSpPr txBox="1"/>
          <p:nvPr/>
        </p:nvSpPr>
        <p:spPr>
          <a:xfrm>
            <a:off x="6888088" y="1534695"/>
            <a:ext cx="40297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We solve the problem using EM. </a:t>
            </a:r>
          </a:p>
        </p:txBody>
      </p: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ED5C603B-56C8-9048-80FB-8C7E69F973E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72064" y="1260354"/>
            <a:ext cx="0" cy="4850954"/>
          </a:xfrm>
          <a:prstGeom prst="line">
            <a:avLst/>
          </a:prstGeom>
          <a:ln w="12700"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22369F8A-11B9-2D46-A10E-D175717B9D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82" t="3779" r="33351" b="65150"/>
          <a:stretch/>
        </p:blipFill>
        <p:spPr>
          <a:xfrm>
            <a:off x="839416" y="2492896"/>
            <a:ext cx="3171469" cy="188246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A038994-B5F6-6240-80D2-90B2BA990E5B}"/>
                  </a:ext>
                </a:extLst>
              </p:cNvPr>
              <p:cNvSpPr txBox="1"/>
              <p:nvPr/>
            </p:nvSpPr>
            <p:spPr>
              <a:xfrm>
                <a:off x="6861409" y="2393100"/>
                <a:ext cx="4320481" cy="231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Solution Part b)</a:t>
                </a: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: Expectation Step.</a:t>
                </a: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1) Set initial (random) estimates</a:t>
                </a: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                        </a:t>
                </a: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                    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60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SupPr>
                      <m:e>
                        <m: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𝐴</m:t>
                        </m:r>
                      </m:sub>
                      <m:sup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0</m:t>
                        </m:r>
                      </m:sup>
                    </m:sSubSup>
                    <m:r>
                      <a:rPr lang="de-DE" sz="1600" b="0" i="1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=0.6</m:t>
                    </m:r>
                    <m:r>
                      <a:rPr lang="de-DE" sz="1600" i="1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 ≠</m:t>
                    </m:r>
                    <m:sSubSup>
                      <m:sSubSupPr>
                        <m:ctrlP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SupPr>
                      <m:e>
                        <m: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𝐵</m:t>
                        </m:r>
                      </m:sub>
                      <m:sup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0</m:t>
                        </m:r>
                      </m:sup>
                    </m:sSubSup>
                    <m:r>
                      <a:rPr lang="de-DE" sz="1600" b="0" i="1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=0.5</m:t>
                    </m:r>
                  </m:oMath>
                </a14:m>
                <a:endParaRPr lang="en-US" sz="1600" dirty="0">
                  <a:solidFill>
                    <a:schemeClr val="accent6">
                      <a:lumMod val="75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endParaRPr lang="en-US" sz="1600" dirty="0">
                  <a:solidFill>
                    <a:schemeClr val="accent6">
                      <a:lumMod val="75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2) Calculate the respective relative frequency for each ro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𝑖</m:t>
                        </m:r>
                      </m:sub>
                    </m:sSub>
                    <m:r>
                      <a:rPr lang="de-DE" sz="1600" b="0" i="1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, </m:t>
                    </m:r>
                  </m:oMath>
                </a14:m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which is also the MLE estimate within the round. </a:t>
                </a:r>
              </a:p>
            </p:txBody>
          </p:sp>
        </mc:Choice>
        <mc:Fallback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A038994-B5F6-6240-80D2-90B2BA990E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1409" y="2393100"/>
                <a:ext cx="4320481" cy="2314608"/>
              </a:xfrm>
              <a:prstGeom prst="rect">
                <a:avLst/>
              </a:prstGeom>
              <a:blipFill>
                <a:blip r:embed="rId3"/>
                <a:stretch>
                  <a:fillRect l="-882" b="-217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Rechteck 4">
                <a:extLst>
                  <a:ext uri="{FF2B5EF4-FFF2-40B4-BE49-F238E27FC236}">
                    <a16:creationId xmlns:a16="http://schemas.microsoft.com/office/drawing/2014/main" id="{280F2056-38B9-CC45-9746-A7E787CF1D22}"/>
                  </a:ext>
                </a:extLst>
              </p:cNvPr>
              <p:cNvSpPr/>
              <p:nvPr/>
            </p:nvSpPr>
            <p:spPr>
              <a:xfrm>
                <a:off x="4311585" y="2676206"/>
                <a:ext cx="136377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5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5" name="Rechteck 4">
                <a:extLst>
                  <a:ext uri="{FF2B5EF4-FFF2-40B4-BE49-F238E27FC236}">
                    <a16:creationId xmlns:a16="http://schemas.microsoft.com/office/drawing/2014/main" id="{280F2056-38B9-CC45-9746-A7E787CF1D2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1585" y="2676206"/>
                <a:ext cx="1363771" cy="369332"/>
              </a:xfrm>
              <a:prstGeom prst="rect">
                <a:avLst/>
              </a:prstGeom>
              <a:blipFill>
                <a:blip r:embed="rId4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66DE62B3-51C9-5B46-9011-6993E56AC8E2}"/>
                  </a:ext>
                </a:extLst>
              </p:cNvPr>
              <p:cNvSpPr/>
              <p:nvPr/>
            </p:nvSpPr>
            <p:spPr>
              <a:xfrm>
                <a:off x="4311585" y="2979381"/>
                <a:ext cx="136909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 9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66DE62B3-51C9-5B46-9011-6993E56AC8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1585" y="2979381"/>
                <a:ext cx="1369093" cy="369332"/>
              </a:xfrm>
              <a:prstGeom prst="rect">
                <a:avLst/>
              </a:prstGeom>
              <a:blipFill>
                <a:blip r:embed="rId5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5D0F1484-255D-7249-99B6-C27B4385D9DE}"/>
                  </a:ext>
                </a:extLst>
              </p:cNvPr>
              <p:cNvSpPr/>
              <p:nvPr/>
            </p:nvSpPr>
            <p:spPr>
              <a:xfrm>
                <a:off x="4311585" y="3282555"/>
                <a:ext cx="136909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3</m:t>
                          </m:r>
                        </m:sub>
                      </m:sSub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8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5D0F1484-255D-7249-99B6-C27B4385D9D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1585" y="3282555"/>
                <a:ext cx="1369093" cy="369332"/>
              </a:xfrm>
              <a:prstGeom prst="rect">
                <a:avLst/>
              </a:prstGeom>
              <a:blipFill>
                <a:blip r:embed="rId6"/>
                <a:stretch>
                  <a:fillRect b="-129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DDB29353-D5C4-2748-A9B3-4A16AC87D28F}"/>
                  </a:ext>
                </a:extLst>
              </p:cNvPr>
              <p:cNvSpPr/>
              <p:nvPr/>
            </p:nvSpPr>
            <p:spPr>
              <a:xfrm>
                <a:off x="4311585" y="3557150"/>
                <a:ext cx="136370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4</m:t>
                          </m:r>
                        </m:sub>
                      </m:sSub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4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DDB29353-D5C4-2748-A9B3-4A16AC87D28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1585" y="3557150"/>
                <a:ext cx="1363707" cy="369332"/>
              </a:xfrm>
              <a:prstGeom prst="rect">
                <a:avLst/>
              </a:prstGeom>
              <a:blipFill>
                <a:blip r:embed="rId7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49AFC47E-3359-C644-A0F6-A8F1C8CB922F}"/>
                  </a:ext>
                </a:extLst>
              </p:cNvPr>
              <p:cNvSpPr/>
              <p:nvPr/>
            </p:nvSpPr>
            <p:spPr>
              <a:xfrm>
                <a:off x="4311585" y="3822746"/>
                <a:ext cx="136909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5</m:t>
                          </m:r>
                        </m:sub>
                      </m:sSub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7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49AFC47E-3359-C644-A0F6-A8F1C8CB922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1585" y="3822746"/>
                <a:ext cx="1369093" cy="369332"/>
              </a:xfrm>
              <a:prstGeom prst="rect">
                <a:avLst/>
              </a:prstGeom>
              <a:blipFill>
                <a:blip r:embed="rId8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Rechteck 13">
            <a:extLst>
              <a:ext uri="{FF2B5EF4-FFF2-40B4-BE49-F238E27FC236}">
                <a16:creationId xmlns:a16="http://schemas.microsoft.com/office/drawing/2014/main" id="{EB00A390-8A40-3D4A-84AE-E2787820AE7B}"/>
              </a:ext>
            </a:extLst>
          </p:cNvPr>
          <p:cNvSpPr/>
          <p:nvPr/>
        </p:nvSpPr>
        <p:spPr>
          <a:xfrm>
            <a:off x="666122" y="2337219"/>
            <a:ext cx="1322824" cy="2999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2FA4F97-AFDA-5047-85F1-BDF009564E51}"/>
              </a:ext>
            </a:extLst>
          </p:cNvPr>
          <p:cNvSpPr/>
          <p:nvPr/>
        </p:nvSpPr>
        <p:spPr>
          <a:xfrm>
            <a:off x="2405850" y="2388483"/>
            <a:ext cx="1741443" cy="2182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277D10E-4AD2-E44A-8B1C-E0A7BAF1D96F}"/>
              </a:ext>
            </a:extLst>
          </p:cNvPr>
          <p:cNvSpPr/>
          <p:nvPr/>
        </p:nvSpPr>
        <p:spPr>
          <a:xfrm>
            <a:off x="3312237" y="2388483"/>
            <a:ext cx="3024336" cy="2182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6A8F53F-9BA7-A142-B998-AD89C2A59387}"/>
              </a:ext>
            </a:extLst>
          </p:cNvPr>
          <p:cNvSpPr/>
          <p:nvPr/>
        </p:nvSpPr>
        <p:spPr>
          <a:xfrm>
            <a:off x="4865914" y="2360652"/>
            <a:ext cx="1713802" cy="2182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354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5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7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7" grpId="0" animBg="1"/>
      <p:bldP spid="1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.2: </a:t>
            </a:r>
            <a:r>
              <a:rPr lang="de-DE" dirty="0" err="1"/>
              <a:t>Expectation</a:t>
            </a:r>
            <a:r>
              <a:rPr lang="de-DE" dirty="0"/>
              <a:t> </a:t>
            </a:r>
            <a:r>
              <a:rPr lang="de-DE" dirty="0" err="1"/>
              <a:t>Maximization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ED5C603B-56C8-9048-80FB-8C7E69F973E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72064" y="1260354"/>
            <a:ext cx="0" cy="4850954"/>
          </a:xfrm>
          <a:prstGeom prst="line">
            <a:avLst/>
          </a:prstGeom>
          <a:ln w="12700"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22369F8A-11B9-2D46-A10E-D175717B9D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695"/>
          <a:stretch/>
        </p:blipFill>
        <p:spPr>
          <a:xfrm>
            <a:off x="1672565" y="2232351"/>
            <a:ext cx="3860800" cy="263610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D9FAB6A-9F84-DD4E-8DFB-9307C8BB1252}"/>
              </a:ext>
            </a:extLst>
          </p:cNvPr>
          <p:cNvSpPr txBox="1"/>
          <p:nvPr/>
        </p:nvSpPr>
        <p:spPr>
          <a:xfrm>
            <a:off x="6888088" y="1534695"/>
            <a:ext cx="40297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We solve the problem using EM.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302235-1C61-4342-9A77-BC01D1D22238}"/>
              </a:ext>
            </a:extLst>
          </p:cNvPr>
          <p:cNvSpPr txBox="1"/>
          <p:nvPr/>
        </p:nvSpPr>
        <p:spPr>
          <a:xfrm>
            <a:off x="6861409" y="2393100"/>
            <a:ext cx="43204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olution Part c)</a:t>
            </a:r>
            <a:r>
              <a:rPr lang="en-US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lculat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eight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r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in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ther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d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probability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ow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ikely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a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record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draw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rom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ither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oi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A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r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oi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B. </a:t>
            </a:r>
            <a:endParaRPr lang="en-US" sz="1600" dirty="0">
              <a:solidFill>
                <a:schemeClr val="accent6">
                  <a:lumMod val="75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0FBEBB-AE58-C146-891F-1AF037CE23DA}"/>
              </a:ext>
            </a:extLst>
          </p:cNvPr>
          <p:cNvSpPr/>
          <p:nvPr/>
        </p:nvSpPr>
        <p:spPr>
          <a:xfrm>
            <a:off x="2698373" y="2852936"/>
            <a:ext cx="3024336" cy="2182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D9A5E9ED-19D2-4946-AF71-452448964E86}"/>
                  </a:ext>
                </a:extLst>
              </p:cNvPr>
              <p:cNvSpPr txBox="1"/>
              <p:nvPr/>
            </p:nvSpPr>
            <p:spPr>
              <a:xfrm>
                <a:off x="6861409" y="3328449"/>
                <a:ext cx="4320481" cy="13775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Therefor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e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,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we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need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to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calculate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the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log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likelihood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values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for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each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of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the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five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records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based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on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the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current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estimate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SupPr>
                      <m:e>
                        <m:r>
                          <a:rPr lang="en-US" sz="1600" b="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b="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𝐴</m:t>
                        </m:r>
                      </m:sub>
                      <m:sup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𝑗</m:t>
                        </m:r>
                      </m:sup>
                    </m:sSubSup>
                  </m:oMath>
                </a14:m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, and </a:t>
                </a:r>
                <a:r>
                  <a:rPr lang="de-DE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SupPr>
                      <m:e>
                        <m:r>
                          <a:rPr lang="en-US" sz="1600" b="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𝐵</m:t>
                        </m:r>
                      </m:sub>
                      <m:sup>
                        <m:r>
                          <a:rPr lang="de-DE" sz="1600" b="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𝑗</m:t>
                        </m:r>
                      </m:sup>
                    </m:sSubSup>
                  </m:oMath>
                </a14:m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 according to: </a:t>
                </a: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endParaRPr lang="en-US" sz="1600" dirty="0">
                  <a:solidFill>
                    <a:schemeClr val="accent6">
                      <a:lumMod val="75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endParaRPr lang="en-US" sz="1600" dirty="0">
                  <a:solidFill>
                    <a:schemeClr val="accent6">
                      <a:lumMod val="75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</p:txBody>
          </p:sp>
        </mc:Choice>
        <mc:Fallback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D9A5E9ED-19D2-4946-AF71-452448964E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1409" y="3328449"/>
                <a:ext cx="4320481" cy="1377557"/>
              </a:xfrm>
              <a:prstGeom prst="rect">
                <a:avLst/>
              </a:prstGeom>
              <a:blipFill>
                <a:blip r:embed="rId3"/>
                <a:stretch>
                  <a:fillRect l="-882" t="-909" r="-5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Grafik 10">
            <a:extLst>
              <a:ext uri="{FF2B5EF4-FFF2-40B4-BE49-F238E27FC236}">
                <a16:creationId xmlns:a16="http://schemas.microsoft.com/office/drawing/2014/main" id="{02877619-B7F1-4C45-8CF0-67B53EAB81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7779" y="4462285"/>
            <a:ext cx="4057278" cy="27377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2E8424D-C8AA-5A46-ACF9-5FF6BB8A94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62387" y="3341876"/>
            <a:ext cx="3262238" cy="77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502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.2: </a:t>
            </a:r>
            <a:r>
              <a:rPr lang="de-DE" dirty="0" err="1"/>
              <a:t>Expectation</a:t>
            </a:r>
            <a:r>
              <a:rPr lang="de-DE" dirty="0"/>
              <a:t> </a:t>
            </a:r>
            <a:r>
              <a:rPr lang="de-DE" dirty="0" err="1"/>
              <a:t>Maximization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ED5C603B-56C8-9048-80FB-8C7E69F973E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72064" y="1260354"/>
            <a:ext cx="0" cy="4850954"/>
          </a:xfrm>
          <a:prstGeom prst="line">
            <a:avLst/>
          </a:prstGeom>
          <a:ln w="12700"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22369F8A-11B9-2D46-A10E-D175717B9D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695"/>
          <a:stretch/>
        </p:blipFill>
        <p:spPr>
          <a:xfrm>
            <a:off x="1672565" y="2232351"/>
            <a:ext cx="3860800" cy="263610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D9FAB6A-9F84-DD4E-8DFB-9307C8BB1252}"/>
              </a:ext>
            </a:extLst>
          </p:cNvPr>
          <p:cNvSpPr txBox="1"/>
          <p:nvPr/>
        </p:nvSpPr>
        <p:spPr>
          <a:xfrm>
            <a:off x="6888088" y="1534695"/>
            <a:ext cx="40297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We solve the problem using EM.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302235-1C61-4342-9A77-BC01D1D22238}"/>
              </a:ext>
            </a:extLst>
          </p:cNvPr>
          <p:cNvSpPr txBox="1"/>
          <p:nvPr/>
        </p:nvSpPr>
        <p:spPr>
          <a:xfrm>
            <a:off x="6861409" y="2393100"/>
            <a:ext cx="43204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olution Part d)</a:t>
            </a:r>
            <a:r>
              <a:rPr lang="en-US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Based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on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s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log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iklihood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lculat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eight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ach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round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llow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</a:t>
            </a:r>
            <a:b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</a:br>
            <a:b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</a:br>
            <a:endParaRPr lang="en-US" sz="1600" dirty="0">
              <a:solidFill>
                <a:schemeClr val="accent6">
                  <a:lumMod val="75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0FBEBB-AE58-C146-891F-1AF037CE23DA}"/>
              </a:ext>
            </a:extLst>
          </p:cNvPr>
          <p:cNvSpPr/>
          <p:nvPr/>
        </p:nvSpPr>
        <p:spPr>
          <a:xfrm>
            <a:off x="2698373" y="2852936"/>
            <a:ext cx="3024336" cy="2182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2E8424D-C8AA-5A46-ACF9-5FF6BB8A9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2387" y="3341876"/>
            <a:ext cx="3262238" cy="771532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EEDCD202-8467-DD4F-8BA2-2997C5348A31}"/>
                  </a:ext>
                </a:extLst>
              </p:cNvPr>
              <p:cNvSpPr txBox="1"/>
              <p:nvPr/>
            </p:nvSpPr>
            <p:spPr>
              <a:xfrm>
                <a:off x="7745552" y="3435572"/>
                <a:ext cx="3670877" cy="5335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chemeClr val="accent6"/>
                    </a:solidFill>
                  </a:rPr>
                  <a:t>Weight for Coin A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+</m:t>
                        </m:r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r>
                  <a:rPr lang="en-US" dirty="0">
                    <a:solidFill>
                      <a:schemeClr val="accent6"/>
                    </a:solidFill>
                  </a:rPr>
                  <a:t> </a:t>
                </a:r>
              </a:p>
            </p:txBody>
          </p:sp>
        </mc:Choice>
        <mc:Fallback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EEDCD202-8467-DD4F-8BA2-2997C5348A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5552" y="3435572"/>
                <a:ext cx="3670877" cy="533544"/>
              </a:xfrm>
              <a:prstGeom prst="rect">
                <a:avLst/>
              </a:prstGeom>
              <a:blipFill>
                <a:blip r:embed="rId4"/>
                <a:stretch>
                  <a:fillRect l="-1379" b="-23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7CE1B5E6-40B1-E446-8314-6ADBBB3E352A}"/>
                  </a:ext>
                </a:extLst>
              </p:cNvPr>
              <p:cNvSpPr txBox="1"/>
              <p:nvPr/>
            </p:nvSpPr>
            <p:spPr>
              <a:xfrm>
                <a:off x="7745552" y="4269293"/>
                <a:ext cx="3662862" cy="5335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chemeClr val="accent6"/>
                    </a:solidFill>
                  </a:rPr>
                  <a:t>Weight for Coin B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+</m:t>
                        </m:r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r>
                  <a:rPr lang="en-US" dirty="0">
                    <a:solidFill>
                      <a:schemeClr val="accent6"/>
                    </a:solidFill>
                  </a:rPr>
                  <a:t> </a:t>
                </a:r>
              </a:p>
            </p:txBody>
          </p:sp>
        </mc:Choice>
        <mc:Fallback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7CE1B5E6-40B1-E446-8314-6ADBBB3E35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5552" y="4269293"/>
                <a:ext cx="3662862" cy="533544"/>
              </a:xfrm>
              <a:prstGeom prst="rect">
                <a:avLst/>
              </a:prstGeom>
              <a:blipFill>
                <a:blip r:embed="rId5"/>
                <a:stretch>
                  <a:fillRect l="-1384" b="-47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46399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6" grpId="0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.2: </a:t>
            </a:r>
            <a:r>
              <a:rPr lang="de-DE" dirty="0" err="1"/>
              <a:t>Expectation</a:t>
            </a:r>
            <a:r>
              <a:rPr lang="de-DE" dirty="0"/>
              <a:t> </a:t>
            </a:r>
            <a:r>
              <a:rPr lang="de-DE" dirty="0" err="1"/>
              <a:t>Maximization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ED5C603B-56C8-9048-80FB-8C7E69F973E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72064" y="1260354"/>
            <a:ext cx="0" cy="4850954"/>
          </a:xfrm>
          <a:prstGeom prst="line">
            <a:avLst/>
          </a:prstGeom>
          <a:ln w="12700"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22369F8A-11B9-2D46-A10E-D175717B9D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695"/>
          <a:stretch/>
        </p:blipFill>
        <p:spPr>
          <a:xfrm>
            <a:off x="1672565" y="2232351"/>
            <a:ext cx="3860800" cy="263610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D9FAB6A-9F84-DD4E-8DFB-9307C8BB1252}"/>
              </a:ext>
            </a:extLst>
          </p:cNvPr>
          <p:cNvSpPr txBox="1"/>
          <p:nvPr/>
        </p:nvSpPr>
        <p:spPr>
          <a:xfrm>
            <a:off x="6888088" y="1534695"/>
            <a:ext cx="40297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We solve the problem using EM.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302235-1C61-4342-9A77-BC01D1D22238}"/>
              </a:ext>
            </a:extLst>
          </p:cNvPr>
          <p:cNvSpPr txBox="1"/>
          <p:nvPr/>
        </p:nvSpPr>
        <p:spPr>
          <a:xfrm>
            <a:off x="6861409" y="2393100"/>
            <a:ext cx="43204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olution Part d)</a:t>
            </a:r>
            <a:r>
              <a:rPr lang="en-US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Based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on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s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log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iklihood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lculat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eight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ach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round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llow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</a:t>
            </a:r>
            <a:b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</a:br>
            <a:b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</a:br>
            <a:endParaRPr lang="en-US" sz="1600" dirty="0">
              <a:solidFill>
                <a:schemeClr val="accent6">
                  <a:lumMod val="75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0FBEBB-AE58-C146-891F-1AF037CE23DA}"/>
              </a:ext>
            </a:extLst>
          </p:cNvPr>
          <p:cNvSpPr/>
          <p:nvPr/>
        </p:nvSpPr>
        <p:spPr>
          <a:xfrm>
            <a:off x="2698373" y="2852936"/>
            <a:ext cx="3024336" cy="2182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99CCBC6-7A04-1B4D-BB4A-B6CECE9129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4645" y="2964232"/>
            <a:ext cx="1480934" cy="138539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73355F52-07CD-1C4A-BB98-2706B8FADF70}"/>
                  </a:ext>
                </a:extLst>
              </p:cNvPr>
              <p:cNvSpPr txBox="1"/>
              <p:nvPr/>
            </p:nvSpPr>
            <p:spPr>
              <a:xfrm>
                <a:off x="7745552" y="3435572"/>
                <a:ext cx="3670877" cy="5335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chemeClr val="accent6"/>
                    </a:solidFill>
                  </a:rPr>
                  <a:t>Weight for Coin A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+</m:t>
                        </m:r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r>
                  <a:rPr lang="en-US" dirty="0">
                    <a:solidFill>
                      <a:schemeClr val="accent6"/>
                    </a:solidFill>
                  </a:rPr>
                  <a:t> </a:t>
                </a:r>
              </a:p>
            </p:txBody>
          </p:sp>
        </mc:Choice>
        <mc:Fallback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73355F52-07CD-1C4A-BB98-2706B8FADF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5552" y="3435572"/>
                <a:ext cx="3670877" cy="533544"/>
              </a:xfrm>
              <a:prstGeom prst="rect">
                <a:avLst/>
              </a:prstGeom>
              <a:blipFill>
                <a:blip r:embed="rId4"/>
                <a:stretch>
                  <a:fillRect l="-1379" b="-23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14176B1-C4E0-6044-A554-D520E53182B7}"/>
                  </a:ext>
                </a:extLst>
              </p:cNvPr>
              <p:cNvSpPr txBox="1"/>
              <p:nvPr/>
            </p:nvSpPr>
            <p:spPr>
              <a:xfrm>
                <a:off x="7745552" y="4269293"/>
                <a:ext cx="3662862" cy="5335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chemeClr val="accent6"/>
                    </a:solidFill>
                  </a:rPr>
                  <a:t>Weight for Coin B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+</m:t>
                        </m:r>
                        <m:r>
                          <m:rPr>
                            <m:sty m:val="p"/>
                          </m:rPr>
                          <a:rPr lang="de-DE" b="0" i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exp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⁡(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𝐿𝐿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  <m:r>
                          <a:rPr lang="de-DE" b="0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r>
                  <a:rPr lang="en-US" dirty="0">
                    <a:solidFill>
                      <a:schemeClr val="accent6"/>
                    </a:solidFill>
                  </a:rPr>
                  <a:t> </a:t>
                </a:r>
              </a:p>
            </p:txBody>
          </p:sp>
        </mc:Choice>
        <mc:Fallback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14176B1-C4E0-6044-A554-D520E53182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5552" y="4269293"/>
                <a:ext cx="3662862" cy="533544"/>
              </a:xfrm>
              <a:prstGeom prst="rect">
                <a:avLst/>
              </a:prstGeom>
              <a:blipFill>
                <a:blip r:embed="rId5"/>
                <a:stretch>
                  <a:fillRect l="-1384" b="-47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19475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  <p:bldP spid="1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.2: </a:t>
            </a:r>
            <a:r>
              <a:rPr lang="de-DE" dirty="0" err="1"/>
              <a:t>Expectation</a:t>
            </a:r>
            <a:r>
              <a:rPr lang="de-DE" dirty="0"/>
              <a:t> </a:t>
            </a:r>
            <a:r>
              <a:rPr lang="de-DE" dirty="0" err="1"/>
              <a:t>Maximization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ED5C603B-56C8-9048-80FB-8C7E69F973E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72064" y="1260354"/>
            <a:ext cx="0" cy="4850954"/>
          </a:xfrm>
          <a:prstGeom prst="line">
            <a:avLst/>
          </a:prstGeom>
          <a:ln w="12700"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22369F8A-11B9-2D46-A10E-D175717B9D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695"/>
          <a:stretch/>
        </p:blipFill>
        <p:spPr>
          <a:xfrm>
            <a:off x="1672565" y="2232351"/>
            <a:ext cx="3860800" cy="263610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D9FAB6A-9F84-DD4E-8DFB-9307C8BB1252}"/>
              </a:ext>
            </a:extLst>
          </p:cNvPr>
          <p:cNvSpPr txBox="1"/>
          <p:nvPr/>
        </p:nvSpPr>
        <p:spPr>
          <a:xfrm>
            <a:off x="6888088" y="1534695"/>
            <a:ext cx="40297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We solve the problem using EM.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302235-1C61-4342-9A77-BC01D1D22238}"/>
              </a:ext>
            </a:extLst>
          </p:cNvPr>
          <p:cNvSpPr txBox="1"/>
          <p:nvPr/>
        </p:nvSpPr>
        <p:spPr>
          <a:xfrm>
            <a:off x="6861409" y="2393100"/>
            <a:ext cx="4320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olution Part d)</a:t>
            </a:r>
            <a:r>
              <a:rPr lang="en-US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aximizatio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tep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</a:t>
            </a:r>
            <a:endParaRPr lang="en-US" sz="1600" dirty="0">
              <a:solidFill>
                <a:schemeClr val="accent6">
                  <a:lumMod val="75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0FBEBB-AE58-C146-891F-1AF037CE23DA}"/>
              </a:ext>
            </a:extLst>
          </p:cNvPr>
          <p:cNvSpPr/>
          <p:nvPr/>
        </p:nvSpPr>
        <p:spPr>
          <a:xfrm>
            <a:off x="2698373" y="2852936"/>
            <a:ext cx="3024336" cy="2182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EEDCD202-8467-DD4F-8BA2-2997C5348A31}"/>
                  </a:ext>
                </a:extLst>
              </p:cNvPr>
              <p:cNvSpPr txBox="1"/>
              <p:nvPr/>
            </p:nvSpPr>
            <p:spPr>
              <a:xfrm>
                <a:off x="6893782" y="3009687"/>
                <a:ext cx="5101909" cy="10453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  <a:t>Maximization Step Coin A: </a:t>
                </a: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</a:b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</a:b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SupPr>
                      <m:e>
                        <m: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𝐴</m:t>
                        </m:r>
                      </m:sub>
                      <m:sup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1</m:t>
                        </m:r>
                      </m:sup>
                    </m:sSubSup>
                    <m:r>
                      <a:rPr lang="de-DE" sz="1600" b="0" i="1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= </m:t>
                    </m:r>
                    <m:f>
                      <m:fPr>
                        <m:ctrlP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0.45 ∗</m:t>
                        </m:r>
                        <m:d>
                          <m:d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num>
                              <m:den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10</m:t>
                                </m:r>
                              </m:den>
                            </m:f>
                          </m:e>
                        </m:d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8∗</m:t>
                        </m:r>
                        <m:d>
                          <m:d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9</m:t>
                                </m:r>
                              </m:num>
                              <m:den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10</m:t>
                                </m:r>
                              </m:den>
                            </m:f>
                          </m:e>
                        </m:d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73∗</m:t>
                        </m:r>
                        <m:d>
                          <m:d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8</m:t>
                                </m:r>
                              </m:num>
                              <m:den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10</m:t>
                                </m:r>
                              </m:den>
                            </m:f>
                          </m:e>
                        </m:d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35∗</m:t>
                        </m:r>
                        <m:d>
                          <m:d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10</m:t>
                                </m:r>
                              </m:den>
                            </m:f>
                          </m:e>
                        </m:d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65∗(</m:t>
                        </m:r>
                        <m:f>
                          <m:f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num>
                          <m:den>
                            <m: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10</m:t>
                            </m:r>
                          </m:den>
                        </m:f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0.45+0.8+0.73+0.35+0.65</m:t>
                        </m:r>
                      </m:den>
                    </m:f>
                    <m:r>
                      <a:rPr lang="de-DE" sz="1600" b="0" i="1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=0.71</m:t>
                    </m:r>
                  </m:oMath>
                </a14:m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  <a:t> </a:t>
                </a:r>
              </a:p>
            </p:txBody>
          </p:sp>
        </mc:Choice>
        <mc:Fallback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EEDCD202-8467-DD4F-8BA2-2997C5348A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3782" y="3009687"/>
                <a:ext cx="5101909" cy="1045351"/>
              </a:xfrm>
              <a:prstGeom prst="rect">
                <a:avLst/>
              </a:prstGeom>
              <a:blipFill>
                <a:blip r:embed="rId3"/>
                <a:stretch>
                  <a:fillRect l="-496" t="-12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Grafik 11">
            <a:extLst>
              <a:ext uri="{FF2B5EF4-FFF2-40B4-BE49-F238E27FC236}">
                <a16:creationId xmlns:a16="http://schemas.microsoft.com/office/drawing/2014/main" id="{F99CCBC6-7A04-1B4D-BB4A-B6CECE9129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4645" y="2964232"/>
            <a:ext cx="1480934" cy="138539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15CA4D95-2363-384D-AEB8-35FA81CA8D2C}"/>
                  </a:ext>
                </a:extLst>
              </p:cNvPr>
              <p:cNvSpPr/>
              <p:nvPr/>
            </p:nvSpPr>
            <p:spPr>
              <a:xfrm>
                <a:off x="4061065" y="4467428"/>
                <a:ext cx="136377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5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15CA4D95-2363-384D-AEB8-35FA81CA8D2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1065" y="4467428"/>
                <a:ext cx="1363771" cy="369332"/>
              </a:xfrm>
              <a:prstGeom prst="rect">
                <a:avLst/>
              </a:prstGeom>
              <a:blipFill>
                <a:blip r:embed="rId5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D71DD7B7-B537-3740-9077-4BB3B4694DD7}"/>
                  </a:ext>
                </a:extLst>
              </p:cNvPr>
              <p:cNvSpPr/>
              <p:nvPr/>
            </p:nvSpPr>
            <p:spPr>
              <a:xfrm>
                <a:off x="4061065" y="4770603"/>
                <a:ext cx="136909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 9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D71DD7B7-B537-3740-9077-4BB3B4694DD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1065" y="4770603"/>
                <a:ext cx="1369093" cy="369332"/>
              </a:xfrm>
              <a:prstGeom prst="rect">
                <a:avLst/>
              </a:prstGeom>
              <a:blipFill>
                <a:blip r:embed="rId6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F8EFA9DA-3740-6C4F-ACFB-6EE4629B1819}"/>
                  </a:ext>
                </a:extLst>
              </p:cNvPr>
              <p:cNvSpPr/>
              <p:nvPr/>
            </p:nvSpPr>
            <p:spPr>
              <a:xfrm>
                <a:off x="4061065" y="5073777"/>
                <a:ext cx="136909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3</m:t>
                          </m:r>
                        </m:sub>
                      </m:sSub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8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F8EFA9DA-3740-6C4F-ACFB-6EE4629B181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1065" y="5073777"/>
                <a:ext cx="1369093" cy="369332"/>
              </a:xfrm>
              <a:prstGeom prst="rect">
                <a:avLst/>
              </a:prstGeom>
              <a:blipFill>
                <a:blip r:embed="rId7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C0C886C4-BB53-244B-A1F3-CD1A011CC402}"/>
                  </a:ext>
                </a:extLst>
              </p:cNvPr>
              <p:cNvSpPr/>
              <p:nvPr/>
            </p:nvSpPr>
            <p:spPr>
              <a:xfrm>
                <a:off x="4061065" y="5348372"/>
                <a:ext cx="136370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4</m:t>
                          </m:r>
                        </m:sub>
                      </m:sSub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4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C0C886C4-BB53-244B-A1F3-CD1A011CC40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1065" y="5348372"/>
                <a:ext cx="1363707" cy="369332"/>
              </a:xfrm>
              <a:prstGeom prst="rect">
                <a:avLst/>
              </a:prstGeom>
              <a:blipFill>
                <a:blip r:embed="rId8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2C09A861-9930-1244-91F5-9B201EBBC11D}"/>
                  </a:ext>
                </a:extLst>
              </p:cNvPr>
              <p:cNvSpPr/>
              <p:nvPr/>
            </p:nvSpPr>
            <p:spPr>
              <a:xfrm>
                <a:off x="4061065" y="5613968"/>
                <a:ext cx="136909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𝜃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accent6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5</m:t>
                          </m:r>
                        </m:sub>
                      </m:sSub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  <m:r>
                        <a:rPr lang="de-DE" b="0" i="1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7/10</m:t>
                      </m:r>
                      <m:r>
                        <a:rPr lang="de-DE" i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2C09A861-9930-1244-91F5-9B201EBBC11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1065" y="5613968"/>
                <a:ext cx="1369093" cy="369332"/>
              </a:xfrm>
              <a:prstGeom prst="rect">
                <a:avLst/>
              </a:prstGeom>
              <a:blipFill>
                <a:blip r:embed="rId9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0BA637A-446F-7245-B84B-198ACFB147FE}"/>
              </a:ext>
            </a:extLst>
          </p:cNvPr>
          <p:cNvCxnSpPr>
            <a:endCxn id="16" idx="1"/>
          </p:cNvCxnSpPr>
          <p:nvPr/>
        </p:nvCxnSpPr>
        <p:spPr>
          <a:xfrm>
            <a:off x="2567836" y="3093929"/>
            <a:ext cx="1493229" cy="2164514"/>
          </a:xfrm>
          <a:prstGeom prst="straightConnector1">
            <a:avLst/>
          </a:prstGeom>
          <a:ln w="5715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C2CB063F-CC0C-7347-9EA8-2484B7A4A8EE}"/>
                  </a:ext>
                </a:extLst>
              </p:cNvPr>
              <p:cNvSpPr/>
              <p:nvPr/>
            </p:nvSpPr>
            <p:spPr>
              <a:xfrm>
                <a:off x="6861408" y="4176186"/>
                <a:ext cx="6096000" cy="1045351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  <a:t>Maximization Step Coin B: </a:t>
                </a: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</a:b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</a:b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SupPr>
                      <m:e>
                        <m: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𝐵</m:t>
                        </m:r>
                      </m:sub>
                      <m:sup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1</m:t>
                        </m:r>
                      </m:sup>
                    </m:sSubSup>
                    <m:r>
                      <a:rPr lang="de-DE" sz="1600" i="1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= </m:t>
                    </m:r>
                    <m:f>
                      <m:fPr>
                        <m:ctrlP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5 ∗</m:t>
                        </m:r>
                        <m:d>
                          <m:d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num>
                              <m:den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10</m:t>
                                </m:r>
                              </m:den>
                            </m:f>
                          </m:e>
                        </m:d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d>
                          <m:d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9</m:t>
                                </m:r>
                              </m:num>
                              <m:den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10</m:t>
                                </m:r>
                              </m:den>
                            </m:f>
                          </m:e>
                        </m:d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27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d>
                          <m:d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8</m:t>
                                </m:r>
                              </m:num>
                              <m:den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10</m:t>
                                </m:r>
                              </m:den>
                            </m:f>
                          </m:e>
                        </m:d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65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d>
                          <m:d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de-DE" sz="1600" i="1">
                                    <a:solidFill>
                                      <a:schemeClr val="accent6">
                                        <a:lumMod val="7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10</m:t>
                                </m:r>
                              </m:den>
                            </m:f>
                          </m:e>
                        </m:d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35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(</m:t>
                        </m:r>
                        <m:f>
                          <m:fPr>
                            <m:ctrlP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num>
                          <m:den>
                            <m:r>
                              <a:rPr lang="de-DE" sz="1600" i="1">
                                <a:solidFill>
                                  <a:schemeClr val="accent6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10</m:t>
                            </m:r>
                          </m:den>
                        </m:f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5+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27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6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5+0.</m:t>
                        </m:r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de-DE" sz="1600" i="1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=0.</m:t>
                    </m:r>
                    <m:r>
                      <a:rPr lang="de-DE" sz="1600" b="0" i="1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58</m:t>
                    </m:r>
                  </m:oMath>
                </a14:m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</a:rPr>
                  <a:t> </a:t>
                </a:r>
              </a:p>
            </p:txBody>
          </p:sp>
        </mc:Choice>
        <mc:Fallback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C2CB063F-CC0C-7347-9EA8-2484B7A4A8E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1408" y="4176186"/>
                <a:ext cx="6096000" cy="1045351"/>
              </a:xfrm>
              <a:prstGeom prst="rect">
                <a:avLst/>
              </a:prstGeom>
              <a:blipFill>
                <a:blip r:embed="rId10"/>
                <a:stretch>
                  <a:fillRect l="-625" t="-12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Rechteck 20">
            <a:extLst>
              <a:ext uri="{FF2B5EF4-FFF2-40B4-BE49-F238E27FC236}">
                <a16:creationId xmlns:a16="http://schemas.microsoft.com/office/drawing/2014/main" id="{6F89E4A2-C3A3-1849-A74E-44D578A68403}"/>
              </a:ext>
            </a:extLst>
          </p:cNvPr>
          <p:cNvSpPr/>
          <p:nvPr/>
        </p:nvSpPr>
        <p:spPr>
          <a:xfrm>
            <a:off x="6861408" y="5386643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</a:rPr>
              <a:t>The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</a:rPr>
              <a:t>,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</a:rPr>
              <a:t>repeat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</a:rPr>
              <a:t>expectatio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</a:rPr>
              <a:t>and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</a:rPr>
              <a:t>maximizatio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br>
              <a:rPr lang="de-DE" sz="16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</a:rPr>
              <a:t>step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</a:rPr>
              <a:t>until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</a:rPr>
              <a:t>convergenc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</a:rPr>
              <a:t>.</a:t>
            </a:r>
            <a:endParaRPr lang="en-US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31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6" grpId="0"/>
      <p:bldP spid="13" grpId="0"/>
      <p:bldP spid="15" grpId="0"/>
      <p:bldP spid="16" grpId="0"/>
      <p:bldP spid="17" grpId="0"/>
      <p:bldP spid="18" grpId="0"/>
      <p:bldP spid="20" grpId="0"/>
      <p:bldP spid="2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.3: </a:t>
            </a:r>
            <a:r>
              <a:rPr lang="de-DE" dirty="0" err="1"/>
              <a:t>Expectation</a:t>
            </a:r>
            <a:r>
              <a:rPr lang="de-DE" dirty="0"/>
              <a:t> </a:t>
            </a:r>
            <a:r>
              <a:rPr lang="de-DE" dirty="0" err="1"/>
              <a:t>Maximization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07A4485-1219-F347-8D59-0401A6B75EEA}"/>
              </a:ext>
            </a:extLst>
          </p:cNvPr>
          <p:cNvSpPr txBox="1"/>
          <p:nvPr/>
        </p:nvSpPr>
        <p:spPr>
          <a:xfrm>
            <a:off x="6888088" y="1534695"/>
            <a:ext cx="40297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Explain the difference between maximum likelihood estimation and EM approaches based on the coin toss example.</a:t>
            </a:r>
          </a:p>
        </p:txBody>
      </p: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ED5C603B-56C8-9048-80FB-8C7E69F973E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72064" y="1260354"/>
            <a:ext cx="0" cy="4850954"/>
          </a:xfrm>
          <a:prstGeom prst="line">
            <a:avLst/>
          </a:prstGeom>
          <a:ln w="12700"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22369F8A-11B9-2D46-A10E-D175717B9D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3126" y="1447873"/>
            <a:ext cx="3860800" cy="4445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E0937502-06C0-0747-99DE-A17908BD40C1}"/>
              </a:ext>
            </a:extLst>
          </p:cNvPr>
          <p:cNvSpPr txBox="1"/>
          <p:nvPr/>
        </p:nvSpPr>
        <p:spPr>
          <a:xfrm>
            <a:off x="6888088" y="2693920"/>
            <a:ext cx="432048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olution</a:t>
            </a:r>
            <a:r>
              <a:rPr lang="en-US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aximum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ikelihood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Approach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require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ull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on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group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ssignment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ach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oi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. EM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doesn‘t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requir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s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but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rie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o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earn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t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rom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data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. </a:t>
            </a:r>
            <a:b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</a:br>
            <a:b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L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ind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global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ptimum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EM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plit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blem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to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b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blem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find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s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b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blem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global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ptima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. </a:t>
            </a:r>
            <a:b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</a:br>
            <a:b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fter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at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t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ombine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olutions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ach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b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blem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hich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in turn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ight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end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up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in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ocal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ptima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verarching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blem</a:t>
            </a:r>
            <a:r>
              <a:rPr lang="de-DE" sz="1600" dirty="0">
                <a:solidFill>
                  <a:schemeClr val="accent6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. </a:t>
            </a:r>
            <a:endParaRPr lang="en-US" sz="1600" dirty="0">
              <a:solidFill>
                <a:schemeClr val="accent6">
                  <a:lumMod val="75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402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635047" y="3760863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43955" y="166857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51594" y="277657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91544" y="1928787"/>
            <a:ext cx="36054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 Question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91544" y="3068960"/>
            <a:ext cx="48332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xpectation Maximization Algorithm</a:t>
            </a:r>
          </a:p>
        </p:txBody>
      </p:sp>
      <p:sp>
        <p:nvSpPr>
          <p:cNvPr id="7" name="TextBox 391">
            <a:extLst>
              <a:ext uri="{FF2B5EF4-FFF2-40B4-BE49-F238E27FC236}">
                <a16:creationId xmlns:a16="http://schemas.microsoft.com/office/drawing/2014/main" id="{0AC3B067-8836-8E42-92BC-F47C6B262E3D}"/>
              </a:ext>
            </a:extLst>
          </p:cNvPr>
          <p:cNvSpPr txBox="1"/>
          <p:nvPr/>
        </p:nvSpPr>
        <p:spPr>
          <a:xfrm>
            <a:off x="654452" y="3722391"/>
            <a:ext cx="79303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I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3E6CB564-6501-974A-B288-7C6F81E57439}"/>
              </a:ext>
            </a:extLst>
          </p:cNvPr>
          <p:cNvSpPr txBox="1"/>
          <p:nvPr/>
        </p:nvSpPr>
        <p:spPr>
          <a:xfrm>
            <a:off x="1991544" y="4014779"/>
            <a:ext cx="5661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4427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39544" y="1712348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43955" y="166857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51594" y="277657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91544" y="1928787"/>
            <a:ext cx="36054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 Question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91544" y="3068960"/>
            <a:ext cx="48332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xpectation Maximization Algorithm</a:t>
            </a:r>
          </a:p>
        </p:txBody>
      </p:sp>
      <p:sp>
        <p:nvSpPr>
          <p:cNvPr id="7" name="TextBox 391">
            <a:extLst>
              <a:ext uri="{FF2B5EF4-FFF2-40B4-BE49-F238E27FC236}">
                <a16:creationId xmlns:a16="http://schemas.microsoft.com/office/drawing/2014/main" id="{0AC3B067-8836-8E42-92BC-F47C6B262E3D}"/>
              </a:ext>
            </a:extLst>
          </p:cNvPr>
          <p:cNvSpPr txBox="1"/>
          <p:nvPr/>
        </p:nvSpPr>
        <p:spPr>
          <a:xfrm>
            <a:off x="654452" y="3722391"/>
            <a:ext cx="79303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I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3E6CB564-6501-974A-B288-7C6F81E57439}"/>
              </a:ext>
            </a:extLst>
          </p:cNvPr>
          <p:cNvSpPr txBox="1"/>
          <p:nvPr/>
        </p:nvSpPr>
        <p:spPr>
          <a:xfrm>
            <a:off x="1991544" y="4014779"/>
            <a:ext cx="5661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150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.1: Soft vs. Hard Clustering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70A92C7-7CBD-F744-BA10-DF2FEE0AD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5600" y="2348880"/>
            <a:ext cx="7760862" cy="18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815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.1: Soft vs. Hard Clustering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70A92C7-7CBD-F744-BA10-DF2FEE0AD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5600" y="2348880"/>
            <a:ext cx="7760862" cy="1800200"/>
          </a:xfrm>
          <a:prstGeom prst="rect">
            <a:avLst/>
          </a:prstGeom>
        </p:spPr>
      </p:pic>
      <p:sp>
        <p:nvSpPr>
          <p:cNvPr id="4" name="Rahmen 3">
            <a:extLst>
              <a:ext uri="{FF2B5EF4-FFF2-40B4-BE49-F238E27FC236}">
                <a16:creationId xmlns:a16="http://schemas.microsoft.com/office/drawing/2014/main" id="{861FF2E5-70EC-2948-B5C5-4F4273D25F44}"/>
              </a:ext>
            </a:extLst>
          </p:cNvPr>
          <p:cNvSpPr/>
          <p:nvPr/>
        </p:nvSpPr>
        <p:spPr>
          <a:xfrm>
            <a:off x="2714972" y="3463497"/>
            <a:ext cx="7042803" cy="782826"/>
          </a:xfrm>
          <a:prstGeom prst="frame">
            <a:avLst>
              <a:gd name="adj1" fmla="val 11413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2584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.2: Tru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False</a:t>
            </a:r>
            <a:r>
              <a:rPr lang="de-DE" dirty="0"/>
              <a:t>? GMM superb?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D3CB291-785E-694A-8C39-F51C9114BA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008"/>
          <a:stretch/>
        </p:blipFill>
        <p:spPr>
          <a:xfrm>
            <a:off x="2567608" y="2708920"/>
            <a:ext cx="7704856" cy="1324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8397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.2: Tru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False</a:t>
            </a:r>
            <a:r>
              <a:rPr lang="de-DE" dirty="0"/>
              <a:t>? GMM superb?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D3CB291-785E-694A-8C39-F51C9114BA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008"/>
          <a:stretch/>
        </p:blipFill>
        <p:spPr>
          <a:xfrm>
            <a:off x="2567608" y="2708920"/>
            <a:ext cx="7704856" cy="1324006"/>
          </a:xfrm>
          <a:prstGeom prst="rect">
            <a:avLst/>
          </a:prstGeom>
        </p:spPr>
      </p:pic>
      <p:sp>
        <p:nvSpPr>
          <p:cNvPr id="5" name="Rahmen 4">
            <a:extLst>
              <a:ext uri="{FF2B5EF4-FFF2-40B4-BE49-F238E27FC236}">
                <a16:creationId xmlns:a16="http://schemas.microsoft.com/office/drawing/2014/main" id="{B1387C62-590D-1C47-AEBE-B746DBE2CFEE}"/>
              </a:ext>
            </a:extLst>
          </p:cNvPr>
          <p:cNvSpPr/>
          <p:nvPr/>
        </p:nvSpPr>
        <p:spPr>
          <a:xfrm>
            <a:off x="2802654" y="3670126"/>
            <a:ext cx="1381039" cy="450936"/>
          </a:xfrm>
          <a:prstGeom prst="frame">
            <a:avLst>
              <a:gd name="adj1" fmla="val 11413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4375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51384" y="2853516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43955" y="166857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51594" y="277657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91544" y="1928787"/>
            <a:ext cx="36054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 Question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91544" y="3068960"/>
            <a:ext cx="48332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xpectation Maximization Algorithm</a:t>
            </a:r>
          </a:p>
        </p:txBody>
      </p:sp>
      <p:sp>
        <p:nvSpPr>
          <p:cNvPr id="7" name="TextBox 391">
            <a:extLst>
              <a:ext uri="{FF2B5EF4-FFF2-40B4-BE49-F238E27FC236}">
                <a16:creationId xmlns:a16="http://schemas.microsoft.com/office/drawing/2014/main" id="{0AC3B067-8836-8E42-92BC-F47C6B262E3D}"/>
              </a:ext>
            </a:extLst>
          </p:cNvPr>
          <p:cNvSpPr txBox="1"/>
          <p:nvPr/>
        </p:nvSpPr>
        <p:spPr>
          <a:xfrm>
            <a:off x="654452" y="3722391"/>
            <a:ext cx="79303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I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3E6CB564-6501-974A-B288-7C6F81E57439}"/>
              </a:ext>
            </a:extLst>
          </p:cNvPr>
          <p:cNvSpPr txBox="1"/>
          <p:nvPr/>
        </p:nvSpPr>
        <p:spPr>
          <a:xfrm>
            <a:off x="1991544" y="4014779"/>
            <a:ext cx="5661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3464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.1: </a:t>
            </a:r>
            <a:r>
              <a:rPr lang="de-DE" dirty="0" err="1"/>
              <a:t>Expectation</a:t>
            </a:r>
            <a:r>
              <a:rPr lang="de-DE" dirty="0"/>
              <a:t> </a:t>
            </a:r>
            <a:r>
              <a:rPr lang="de-DE" dirty="0" err="1"/>
              <a:t>Maximization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07A4485-1219-F347-8D59-0401A6B75EEA}"/>
              </a:ext>
            </a:extLst>
          </p:cNvPr>
          <p:cNvSpPr txBox="1"/>
          <p:nvPr/>
        </p:nvSpPr>
        <p:spPr>
          <a:xfrm>
            <a:off x="7032104" y="3347277"/>
            <a:ext cx="40297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Read the paper.</a:t>
            </a:r>
          </a:p>
        </p:txBody>
      </p: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ED5C603B-56C8-9048-80FB-8C7E69F973E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72064" y="1260354"/>
            <a:ext cx="0" cy="4850954"/>
          </a:xfrm>
          <a:prstGeom prst="line">
            <a:avLst/>
          </a:prstGeom>
          <a:ln w="12700"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3CE7FCDA-982C-F84F-9F7B-EFF5546C82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0201" y="1522096"/>
            <a:ext cx="3197794" cy="4221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355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.2: </a:t>
            </a:r>
            <a:r>
              <a:rPr lang="de-DE" dirty="0" err="1"/>
              <a:t>Expectation</a:t>
            </a:r>
            <a:r>
              <a:rPr lang="de-DE" dirty="0"/>
              <a:t> </a:t>
            </a:r>
            <a:r>
              <a:rPr lang="de-DE" dirty="0" err="1"/>
              <a:t>Maximization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 dirty="0"/>
              <a:t>AAA Workshop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07A4485-1219-F347-8D59-0401A6B75EEA}"/>
              </a:ext>
            </a:extLst>
          </p:cNvPr>
          <p:cNvSpPr txBox="1"/>
          <p:nvPr/>
        </p:nvSpPr>
        <p:spPr>
          <a:xfrm>
            <a:off x="6888088" y="1534695"/>
            <a:ext cx="40297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Explain the application of the EM algorithm in light of the coin toss experiment.</a:t>
            </a:r>
          </a:p>
        </p:txBody>
      </p: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ED5C603B-56C8-9048-80FB-8C7E69F973E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72064" y="1260354"/>
            <a:ext cx="0" cy="4850954"/>
          </a:xfrm>
          <a:prstGeom prst="line">
            <a:avLst/>
          </a:prstGeom>
          <a:ln w="12700"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22369F8A-11B9-2D46-A10E-D175717B9D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3126" y="1447873"/>
            <a:ext cx="3860800" cy="444500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A038994-B5F6-6240-80D2-90B2BA990E5B}"/>
                  </a:ext>
                </a:extLst>
              </p:cNvPr>
              <p:cNvSpPr txBox="1"/>
              <p:nvPr/>
            </p:nvSpPr>
            <p:spPr>
              <a:xfrm>
                <a:off x="6861409" y="2393100"/>
                <a:ext cx="4320481" cy="3046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Solution Part a)</a:t>
                </a: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: We have conducted an experiment with 5 rounds using two coins A and B, which are biase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Pr>
                      <m:e>
                        <m:r>
                          <a:rPr lang="en-US" sz="160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𝐴</m:t>
                        </m:r>
                      </m:sub>
                    </m:sSub>
                    <m:r>
                      <a:rPr lang="de-DE" sz="1600" b="0" i="1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 ≠</m:t>
                    </m:r>
                    <m:sSub>
                      <m:sSubPr>
                        <m:ctrlP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b="0" i="1" smtClean="0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𝐵</m:t>
                        </m:r>
                      </m:sub>
                    </m:sSub>
                    <m:r>
                      <a:rPr lang="de-DE" sz="1600" i="1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≠</m:t>
                    </m:r>
                    <m:r>
                      <a:rPr lang="de-DE" sz="1600" b="0" i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0.5</m:t>
                    </m:r>
                  </m:oMath>
                </a14:m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. </a:t>
                </a: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At each round, we tossed the selected coin 10 times. </a:t>
                </a:r>
              </a:p>
              <a:p>
                <a:endParaRPr lang="en-US" sz="1600" dirty="0">
                  <a:solidFill>
                    <a:schemeClr val="accent6">
                      <a:lumMod val="75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However, we don’t know which coin we used during each round (i.e., we cannot use MLE). </a:t>
                </a: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Our objective is to estimate the coefficient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𝐴</m:t>
                        </m:r>
                      </m:sub>
                    </m:sSub>
                    <m:r>
                      <a:rPr lang="de-DE" sz="1600" i="1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 </m:t>
                    </m:r>
                    <m:r>
                      <a:rPr lang="de-DE" sz="1600" b="0" i="1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, </m:t>
                    </m:r>
                    <m:sSub>
                      <m:sSubPr>
                        <m:ctrlP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𝜃</m:t>
                        </m:r>
                      </m:e>
                      <m:sub>
                        <m:r>
                          <a:rPr lang="de-DE" sz="1600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𝐵</m:t>
                        </m:r>
                      </m:sub>
                    </m:sSub>
                  </m:oMath>
                </a14:m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. </a:t>
                </a: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b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</a:br>
                <a:r>
                  <a:rPr lang="en-US" sz="1600" dirty="0">
                    <a:solidFill>
                      <a:schemeClr val="accent6">
                        <a:lumMod val="75000"/>
                      </a:schemeClr>
                    </a:solidFill>
                    <a:latin typeface="Arial Narrow" panose="020B0604020202020204" pitchFamily="34" charset="0"/>
                    <a:cs typeface="Arial Narrow" panose="020B0604020202020204" pitchFamily="34" charset="0"/>
                  </a:rPr>
                  <a:t>Recall that coin tossing follows a binomial distribution. </a:t>
                </a:r>
              </a:p>
            </p:txBody>
          </p:sp>
        </mc:Choice>
        <mc:Fallback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A038994-B5F6-6240-80D2-90B2BA990E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1409" y="2393100"/>
                <a:ext cx="4320481" cy="3046988"/>
              </a:xfrm>
              <a:prstGeom prst="rect">
                <a:avLst/>
              </a:prstGeom>
              <a:blipFill>
                <a:blip r:embed="rId3"/>
                <a:stretch>
                  <a:fillRect l="-882" r="-1471" b="-166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hteck 10">
            <a:extLst>
              <a:ext uri="{FF2B5EF4-FFF2-40B4-BE49-F238E27FC236}">
                <a16:creationId xmlns:a16="http://schemas.microsoft.com/office/drawing/2014/main" id="{5D10FFF0-E9F2-EE4E-A5D6-EABD024C9774}"/>
              </a:ext>
            </a:extLst>
          </p:cNvPr>
          <p:cNvSpPr/>
          <p:nvPr/>
        </p:nvSpPr>
        <p:spPr>
          <a:xfrm>
            <a:off x="2598165" y="3867546"/>
            <a:ext cx="3024336" cy="1180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14211B5-937C-1B4E-A7F9-B3953065337C}"/>
              </a:ext>
            </a:extLst>
          </p:cNvPr>
          <p:cNvSpPr/>
          <p:nvPr/>
        </p:nvSpPr>
        <p:spPr>
          <a:xfrm>
            <a:off x="3034372" y="4873597"/>
            <a:ext cx="3024336" cy="1180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7D98BE8-7906-754B-873A-214CA04CCCDC}"/>
              </a:ext>
            </a:extLst>
          </p:cNvPr>
          <p:cNvSpPr txBox="1"/>
          <p:nvPr/>
        </p:nvSpPr>
        <p:spPr>
          <a:xfrm>
            <a:off x="4425558" y="4129953"/>
            <a:ext cx="4700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/>
              <a:t>?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BD190A-7D85-D248-8DAF-E0D9F781C4AE}"/>
              </a:ext>
            </a:extLst>
          </p:cNvPr>
          <p:cNvSpPr/>
          <p:nvPr/>
        </p:nvSpPr>
        <p:spPr>
          <a:xfrm>
            <a:off x="4211102" y="1725720"/>
            <a:ext cx="1322824" cy="1180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0B8A1E5-67AA-3443-A1E3-54E0BBBB8FBF}"/>
              </a:ext>
            </a:extLst>
          </p:cNvPr>
          <p:cNvSpPr/>
          <p:nvPr/>
        </p:nvSpPr>
        <p:spPr>
          <a:xfrm>
            <a:off x="1593048" y="1447872"/>
            <a:ext cx="1322824" cy="2999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2BDD56F-4076-B54E-BF78-5EB5D260F75E}"/>
              </a:ext>
            </a:extLst>
          </p:cNvPr>
          <p:cNvSpPr/>
          <p:nvPr/>
        </p:nvSpPr>
        <p:spPr>
          <a:xfrm>
            <a:off x="3101293" y="1802839"/>
            <a:ext cx="1109809" cy="1115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6D6073C-7E95-1749-853E-25657A8DAC08}"/>
              </a:ext>
            </a:extLst>
          </p:cNvPr>
          <p:cNvSpPr/>
          <p:nvPr/>
        </p:nvSpPr>
        <p:spPr>
          <a:xfrm>
            <a:off x="618219" y="1702756"/>
            <a:ext cx="1322824" cy="1180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62F4CC5-1E94-5E46-961F-059B75DC5087}"/>
              </a:ext>
            </a:extLst>
          </p:cNvPr>
          <p:cNvSpPr/>
          <p:nvPr/>
        </p:nvSpPr>
        <p:spPr>
          <a:xfrm>
            <a:off x="1673126" y="3041991"/>
            <a:ext cx="1322824" cy="263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53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09</Words>
  <Application>Microsoft Macintosh PowerPoint</Application>
  <PresentationFormat>Breitbild</PresentationFormat>
  <Paragraphs>87</Paragraphs>
  <Slides>17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4" baseType="lpstr">
      <vt:lpstr>Arial</vt:lpstr>
      <vt:lpstr>Arial Narrow</vt:lpstr>
      <vt:lpstr>Calibri</vt:lpstr>
      <vt:lpstr>Cambria Math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56</cp:revision>
  <dcterms:created xsi:type="dcterms:W3CDTF">2019-12-26T20:10:50Z</dcterms:created>
  <dcterms:modified xsi:type="dcterms:W3CDTF">2021-05-04T15:31:21Z</dcterms:modified>
</cp:coreProperties>
</file>